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61" r:id="rId2"/>
    <p:sldId id="464" r:id="rId3"/>
    <p:sldId id="415" r:id="rId4"/>
    <p:sldId id="416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27" r:id="rId16"/>
    <p:sldId id="428" r:id="rId17"/>
    <p:sldId id="429" r:id="rId18"/>
    <p:sldId id="430" r:id="rId19"/>
    <p:sldId id="431" r:id="rId20"/>
    <p:sldId id="432" r:id="rId21"/>
    <p:sldId id="433" r:id="rId22"/>
    <p:sldId id="434" r:id="rId23"/>
    <p:sldId id="435" r:id="rId24"/>
    <p:sldId id="436" r:id="rId25"/>
    <p:sldId id="437" r:id="rId26"/>
    <p:sldId id="438" r:id="rId27"/>
    <p:sldId id="439" r:id="rId28"/>
    <p:sldId id="440" r:id="rId29"/>
    <p:sldId id="441" r:id="rId30"/>
    <p:sldId id="442" r:id="rId31"/>
    <p:sldId id="443" r:id="rId32"/>
    <p:sldId id="444" r:id="rId33"/>
    <p:sldId id="445" r:id="rId34"/>
    <p:sldId id="446" r:id="rId35"/>
    <p:sldId id="447" r:id="rId36"/>
    <p:sldId id="448" r:id="rId37"/>
    <p:sldId id="449" r:id="rId38"/>
    <p:sldId id="450" r:id="rId39"/>
    <p:sldId id="451" r:id="rId40"/>
    <p:sldId id="452" r:id="rId41"/>
    <p:sldId id="453" r:id="rId42"/>
    <p:sldId id="454" r:id="rId43"/>
    <p:sldId id="455" r:id="rId44"/>
    <p:sldId id="456" r:id="rId45"/>
    <p:sldId id="457" r:id="rId46"/>
    <p:sldId id="458" r:id="rId47"/>
    <p:sldId id="459" r:id="rId48"/>
    <p:sldId id="460" r:id="rId49"/>
    <p:sldId id="461" r:id="rId50"/>
    <p:sldId id="462" r:id="rId51"/>
    <p:sldId id="46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38" autoAdjust="0"/>
    <p:restoredTop sz="94660"/>
  </p:normalViewPr>
  <p:slideViewPr>
    <p:cSldViewPr snapToGrid="0">
      <p:cViewPr varScale="1">
        <p:scale>
          <a:sx n="86" d="100"/>
          <a:sy n="86" d="100"/>
        </p:scale>
        <p:origin x="72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6" y="6204234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8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00261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D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9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5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1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66731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2" y="378063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47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31" y="1784351"/>
            <a:ext cx="8588452" cy="3982707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796" indent="-177796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891" indent="-165096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687" indent="-177796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783" indent="-165096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578" indent="-177796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674" indent="-165096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470" indent="-177796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4431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2" y="378063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47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11" algn="r"/>
                <a:tab pos="1028674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674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11" algn="r"/>
                <a:tab pos="1028674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674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98106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686373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383357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59703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6645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24928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2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7852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46" indent="-171446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891" indent="-171446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26" indent="-17303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742932" indent="-171446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914377" indent="-165096">
              <a:buFont typeface="Arial" panose="020B0604020202020204" pitchFamily="34" charset="0"/>
              <a:buChar char="•"/>
              <a:defRPr/>
            </a:lvl7pPr>
            <a:lvl8pPr marL="1092173" indent="-177796">
              <a:buFont typeface="Arial" panose="020B0604020202020204" pitchFamily="34" charset="0"/>
              <a:buChar char="–"/>
              <a:defRPr/>
            </a:lvl8pPr>
            <a:lvl9pPr marL="1257269" indent="-165096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13158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2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3" y="1770065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46" indent="-171446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891" indent="-171446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38" indent="-171446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1446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31849" indent="-171446">
              <a:buFont typeface="Arial" panose="020B0604020202020204" pitchFamily="34" charset="0"/>
              <a:buChar char="–"/>
              <a:defRPr/>
            </a:lvl8pPr>
            <a:lvl9pPr marL="1203295" indent="-171446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8611" y="1770065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46" indent="-171446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891" indent="-171446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38" indent="-171446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1446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31849" indent="-171446">
              <a:buFont typeface="Arial" panose="020B0604020202020204" pitchFamily="34" charset="0"/>
              <a:buChar char="–"/>
              <a:defRPr/>
            </a:lvl8pPr>
            <a:lvl9pPr marL="1203295" indent="-171446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07373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2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2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85824" indent="-225420">
              <a:buFont typeface="Arial" panose="020B0604020202020204" pitchFamily="34" charset="0"/>
              <a:buChar char="–"/>
              <a:defRPr/>
            </a:lvl8pPr>
            <a:lvl9pPr marL="1203295" indent="-117472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6928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85824" indent="-225420">
              <a:buFont typeface="Arial" panose="020B0604020202020204" pitchFamily="34" charset="0"/>
              <a:buChar char="–"/>
              <a:defRPr/>
            </a:lvl8pPr>
            <a:lvl9pPr marL="1203295" indent="-117472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0832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85824" indent="-225420">
              <a:buFont typeface="Arial" panose="020B0604020202020204" pitchFamily="34" charset="0"/>
              <a:buChar char="–"/>
              <a:defRPr/>
            </a:lvl8pPr>
            <a:lvl9pPr marL="1203295" indent="-117472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8470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6" y="6204234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8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4074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2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1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31849" indent="-171446">
              <a:buFont typeface="Arial" panose="020B0604020202020204" pitchFamily="34" charset="0"/>
              <a:buChar char="–"/>
              <a:defRPr/>
            </a:lvl8pPr>
            <a:lvl9pPr marL="1203295" indent="-171446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07763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31849" indent="-171446">
              <a:buFont typeface="Arial" panose="020B0604020202020204" pitchFamily="34" charset="0"/>
              <a:buChar char="–"/>
              <a:defRPr/>
            </a:lvl8pPr>
            <a:lvl9pPr marL="1203295" indent="-171446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7595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31849" indent="-171446">
              <a:buFont typeface="Arial" panose="020B0604020202020204" pitchFamily="34" charset="0"/>
              <a:buChar char="–"/>
              <a:defRPr/>
            </a:lvl8pPr>
            <a:lvl9pPr marL="1203295" indent="-171446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7427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04" indent="-173034">
              <a:buFont typeface="Arial" panose="020B0604020202020204" pitchFamily="34" charset="0"/>
              <a:buChar char="•"/>
              <a:defRPr/>
            </a:lvl7pPr>
            <a:lvl8pPr marL="1031849" indent="-171446">
              <a:buFont typeface="Arial" panose="020B0604020202020204" pitchFamily="34" charset="0"/>
              <a:buChar char="–"/>
              <a:defRPr/>
            </a:lvl8pPr>
            <a:lvl9pPr marL="1203295" indent="-171446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81143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2" y="530351"/>
            <a:ext cx="10583869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2567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9125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55684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52243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48800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54" indent="-173034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62" indent="-163509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09987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6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007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7" y="1764797"/>
            <a:ext cx="7174287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796" indent="-177796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891" indent="-165096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26" indent="-173034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71" indent="-171446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04" indent="-173034">
              <a:buClrTx/>
              <a:buFont typeface="Arial" panose="020B0604020202020204" pitchFamily="34" charset="0"/>
              <a:buChar char="•"/>
              <a:defRPr/>
            </a:lvl7pPr>
            <a:lvl8pPr marL="1031849" indent="-171446">
              <a:buClrTx/>
              <a:buFont typeface="Arial" panose="020B0604020202020204" pitchFamily="34" charset="0"/>
              <a:buChar char="–"/>
              <a:defRPr/>
            </a:lvl8pPr>
            <a:lvl9pPr marL="1203295" indent="-171446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7811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6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57189" indent="-17462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631810" indent="-17462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43" indent="-173034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876" indent="-177796">
              <a:buClrTx/>
              <a:defRPr sz="1600"/>
            </a:lvl6pPr>
            <a:lvl7pPr marL="1142971" indent="-165096">
              <a:buClrTx/>
              <a:defRPr sz="1600"/>
            </a:lvl7pPr>
            <a:lvl8pPr marL="1320767" indent="-177796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300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457189" indent="-17462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631810" indent="-17462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43" indent="-173034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5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88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8" y="0"/>
            <a:ext cx="405815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50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4" y="3137288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>
              <a:buClrTx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7" y="3137288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 baseline="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9" y="3137288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5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400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3" y="530351"/>
            <a:ext cx="4953871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4953872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86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" y="0"/>
            <a:ext cx="609176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4" y="530351"/>
            <a:ext cx="4881033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2" y="1773581"/>
            <a:ext cx="4847249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58258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8" y="530351"/>
            <a:ext cx="4953872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3" y="1773581"/>
            <a:ext cx="495387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5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2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0" y="530351"/>
            <a:ext cx="4881032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4" y="1773581"/>
            <a:ext cx="488103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4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</p:spTree>
    <p:extLst>
      <p:ext uri="{BB962C8B-B14F-4D97-AF65-F5344CB8AC3E}">
        <p14:creationId xmlns:p14="http://schemas.microsoft.com/office/powerpoint/2010/main" val="209696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marR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151692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3" y="3765543"/>
            <a:ext cx="3582951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9550018" y="6104651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34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70" y="0"/>
            <a:ext cx="610023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953872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33" y="3590383"/>
            <a:ext cx="4953871" cy="1849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59211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71" y="4020927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9231305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4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71" y="4020927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5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443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3" y="378063"/>
            <a:ext cx="536964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47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510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54" indent="-173034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62" indent="-163509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4022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54" indent="-173034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62" indent="-163509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8768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1" indent="-174621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54" indent="-173034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62" indent="-163509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783" indent="-174621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</p:spTree>
    <p:extLst>
      <p:ext uri="{BB962C8B-B14F-4D97-AF65-F5344CB8AC3E}">
        <p14:creationId xmlns:p14="http://schemas.microsoft.com/office/powerpoint/2010/main" val="8515132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6" y="378063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47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1" y="1770063"/>
            <a:ext cx="8588452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1446" indent="-171446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4479" indent="-173034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15926" indent="-171446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7371" indent="-171446">
              <a:buClrTx/>
              <a:buFont typeface="Arial" panose="020B0604020202020204" pitchFamily="34" charset="0"/>
              <a:buChar char="–"/>
              <a:defRPr/>
            </a:lvl6pPr>
            <a:lvl7pPr marL="860404" indent="-173034">
              <a:buClrTx/>
              <a:buFont typeface="Arial" panose="020B0604020202020204" pitchFamily="34" charset="0"/>
              <a:buChar char="•"/>
              <a:defRPr baseline="0"/>
            </a:lvl7pPr>
            <a:lvl8pPr marL="1031849" indent="-171446">
              <a:buClrTx/>
              <a:buFont typeface="Arial" panose="020B0604020202020204" pitchFamily="34" charset="0"/>
              <a:buChar char="–"/>
              <a:defRPr/>
            </a:lvl8pPr>
            <a:lvl9pPr marL="1203295" indent="-171446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755703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60810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4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5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76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5136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054040" y="2941082"/>
            <a:ext cx="6083929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rgbClr val="7D3F98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60087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053571" y="1196075"/>
            <a:ext cx="411294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842032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9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4948236" y="6204234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62240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7" y="2928943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18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7" y="2928943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18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5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1325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 descr="Violet (transparent background)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349" y="6438907"/>
            <a:ext cx="536715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0968" y="1222375"/>
            <a:ext cx="1129482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797" y="388063"/>
            <a:ext cx="9457359" cy="73161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321" y="1895473"/>
            <a:ext cx="9452851" cy="4343400"/>
          </a:xfrm>
        </p:spPr>
        <p:txBody>
          <a:bodyPr/>
          <a:lstStyle>
            <a:lvl1pPr>
              <a:defRPr sz="1351"/>
            </a:lvl1pPr>
            <a:lvl2pPr>
              <a:defRPr sz="1351"/>
            </a:lvl2pPr>
            <a:lvl3pPr>
              <a:defRPr sz="1351"/>
            </a:lvl3pPr>
            <a:lvl4pPr>
              <a:defRPr sz="1351"/>
            </a:lvl4pPr>
            <a:lvl5pPr>
              <a:defRPr sz="135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9B6A854-730C-4665-8218-F7FC6C903FF1}" type="datetime1">
              <a:rPr lang="en-US">
                <a:solidFill>
                  <a:srgbClr val="000000"/>
                </a:solidFill>
              </a:rPr>
              <a:pPr/>
              <a:t>8/10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apitol - For Internal Use Only - 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7892C99-7E50-4912-ABC8-E78F8BDEADF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402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5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0244" y="1600200"/>
            <a:ext cx="9444909" cy="4636008"/>
          </a:xfrm>
        </p:spPr>
        <p:txBody>
          <a:bodyPr/>
          <a:lstStyle>
            <a:lvl1pPr>
              <a:spcBef>
                <a:spcPts val="1351"/>
              </a:spcBef>
              <a:defRPr sz="1351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900"/>
              </a:spcBef>
              <a:buFontTx/>
              <a:buNone/>
              <a:defRPr sz="1351"/>
            </a:lvl2pPr>
            <a:lvl3pPr marL="150055" indent="-150055">
              <a:spcBef>
                <a:spcPts val="451"/>
              </a:spcBef>
              <a:buFont typeface="Arial"/>
              <a:buChar char="•"/>
              <a:defRPr sz="1351"/>
            </a:lvl3pPr>
            <a:lvl4pPr marL="298919" indent="-150055">
              <a:buFont typeface="Lucida Grande"/>
              <a:buChar char="-"/>
              <a:defRPr sz="1351"/>
            </a:lvl4pPr>
            <a:lvl5pPr>
              <a:defRPr sz="1351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1325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28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  <p15:guide id="3" orient="horz" pos="392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5" y="5882600"/>
            <a:ext cx="10977033" cy="418596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footnotes if needed</a:t>
            </a:r>
          </a:p>
        </p:txBody>
      </p:sp>
    </p:spTree>
    <p:extLst>
      <p:ext uri="{BB962C8B-B14F-4D97-AF65-F5344CB8AC3E}">
        <p14:creationId xmlns:p14="http://schemas.microsoft.com/office/powerpoint/2010/main" val="2457213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4948236" y="6204234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56190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  <a:latin typeface="+mn-lt"/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7934" y="1077090"/>
            <a:ext cx="5078753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3" y="3325706"/>
            <a:ext cx="5078755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47511" y="6016715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229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A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9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8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1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2112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B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9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0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5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1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66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C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4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9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7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1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3926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5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32" y="530351"/>
            <a:ext cx="9667725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31" y="1785938"/>
            <a:ext cx="9642308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851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dt="0"/>
  <p:txStyles>
    <p:titleStyle>
      <a:lvl1pPr algn="l" defTabSz="457189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189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46" indent="-171446" algn="l" defTabSz="457189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891" indent="-171446" algn="l" defTabSz="457189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38" indent="-171446" algn="l" defTabSz="457189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783" indent="-171446" algn="l" defTabSz="457189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29" indent="-171446" algn="l" defTabSz="457189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674" indent="-165096" algn="l" defTabSz="457189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470" indent="-177796" algn="l" defTabSz="457189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566" indent="-165096" algn="l" defTabSz="457189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" userDrawn="1">
          <p15:clr>
            <a:srgbClr val="F26B43"/>
          </p15:clr>
        </p15:guide>
        <p15:guide id="2" pos="264" userDrawn="1">
          <p15:clr>
            <a:srgbClr val="F26B43"/>
          </p15:clr>
        </p15:guide>
        <p15:guide id="3" pos="5496" userDrawn="1">
          <p15:clr>
            <a:srgbClr val="F26B43"/>
          </p15:clr>
        </p15:guide>
        <p15:guide id="4" orient="horz" pos="1125" userDrawn="1">
          <p15:clr>
            <a:srgbClr val="F26B43"/>
          </p15:clr>
        </p15:guide>
        <p15:guide id="5" orient="horz" pos="3631" userDrawn="1">
          <p15:clr>
            <a:srgbClr val="F26B43"/>
          </p15:clr>
        </p15:guide>
        <p15:guide id="6" orient="horz" pos="41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bama </a:t>
            </a:r>
            <a:r>
              <a:rPr lang="en-US" sz="2800" dirty="0">
                <a:solidFill>
                  <a:schemeClr val="tx1"/>
                </a:solidFill>
              </a:rPr>
              <a:t>– Region 12 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D1D22E49-83F4-453F-BAD6-EFE39909B5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852184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4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678074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108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Florida </a:t>
            </a:r>
            <a:r>
              <a:rPr lang="en-US" sz="2800" dirty="0">
                <a:solidFill>
                  <a:schemeClr val="tx1"/>
                </a:solidFill>
              </a:rPr>
              <a:t>– Region 1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29FE2E8-D03A-496D-B966-AC2313D47B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363600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1.8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406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Georgia </a:t>
            </a:r>
            <a:r>
              <a:rPr lang="en-US" sz="2800" dirty="0">
                <a:solidFill>
                  <a:schemeClr val="tx1"/>
                </a:solidFill>
              </a:rPr>
              <a:t>– Region 1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7105576-6AC8-4007-9F53-972C47BD10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33514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0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181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Hawaii </a:t>
            </a:r>
            <a:r>
              <a:rPr lang="en-US" sz="2800" dirty="0">
                <a:solidFill>
                  <a:schemeClr val="tx1"/>
                </a:solidFill>
              </a:rPr>
              <a:t>– Region 3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895C084-FA60-404D-B8BD-A555D9635E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62934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9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19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daho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E3488E6-D97E-4B82-ABC0-6B23D2737A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299874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0297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llinois </a:t>
            </a:r>
            <a:r>
              <a:rPr lang="en-US" sz="2800" dirty="0">
                <a:solidFill>
                  <a:schemeClr val="tx1"/>
                </a:solidFill>
              </a:rPr>
              <a:t>– Region 1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4EFBB52-E93A-4F8D-91F3-D431E58FD1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1085170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512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ndiana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96E6F7-C981-42A2-B963-94E457347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88068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0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632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ow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E90B8FA-80ED-4C52-BE28-BC82438688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499977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2093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ansas </a:t>
            </a:r>
            <a:r>
              <a:rPr lang="en-US" sz="2800" dirty="0">
                <a:solidFill>
                  <a:schemeClr val="tx1"/>
                </a:solidFill>
              </a:rPr>
              <a:t>– Region 2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4CC902F-7DFA-42A0-9012-82E27F8551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749484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962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entucky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E14713B-06F1-4F0E-A8F2-A1B677BBCD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5508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0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046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Louisiana </a:t>
            </a:r>
            <a:r>
              <a:rPr lang="en-US" sz="2800" dirty="0">
                <a:solidFill>
                  <a:schemeClr val="tx1"/>
                </a:solidFill>
              </a:rPr>
              <a:t>– Region 2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A829B13-575D-4DE4-B8CA-C1BD7432EB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6073967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7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32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ska </a:t>
            </a:r>
            <a:r>
              <a:rPr lang="en-US" sz="2800" dirty="0">
                <a:solidFill>
                  <a:schemeClr val="tx1"/>
                </a:solidFill>
              </a:rPr>
              <a:t>– Region 3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5244D9C-5C22-48F4-BDA6-90BA6F531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60088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  <a:endParaRPr lang="en-US" sz="15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6665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in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E88DF8D-B42E-4219-8723-68B7005964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271516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1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685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ryland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19D6D6C-5757-4612-B894-F87BA3F85F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213812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3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53409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ssachusetts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2D27AF3-6EB1-40D0-A58F-2CA54523E2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3661302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0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344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chigan </a:t>
            </a:r>
            <a:r>
              <a:rPr lang="en-US" sz="2800" dirty="0">
                <a:solidFill>
                  <a:schemeClr val="tx1"/>
                </a:solidFill>
              </a:rPr>
              <a:t>– Region 1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4546D34-6510-4616-A235-1704052DC6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078619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85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202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nnes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776B48A-19CF-4941-9EF2-1DDD60A45C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614710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402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issippi </a:t>
            </a:r>
            <a:r>
              <a:rPr lang="en-US" sz="2800" dirty="0">
                <a:solidFill>
                  <a:schemeClr val="tx1"/>
                </a:solidFill>
              </a:rPr>
              <a:t>– Region 2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3C07A19-966D-4988-8054-A690845D6D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205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3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375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ouri</a:t>
            </a:r>
            <a:r>
              <a:rPr lang="en-US" sz="2800" dirty="0">
                <a:solidFill>
                  <a:schemeClr val="tx1"/>
                </a:solidFill>
              </a:rPr>
              <a:t>– Region 1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8AB6393-D474-4477-BA70-BC038DAB04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52719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508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ontan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AC1FCD2-2D93-4CA8-8660-F725C43615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1245635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9955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brask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F3C5F45-FE59-46B8-B6E9-4537A6BBE0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563843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910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vada </a:t>
            </a:r>
            <a:r>
              <a:rPr lang="en-US" sz="2800" dirty="0">
                <a:solidFill>
                  <a:schemeClr val="tx1"/>
                </a:solidFill>
              </a:rPr>
              <a:t>– Region 2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18F18D2-3062-4BFE-93F6-E8DBD0B7E2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4978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1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475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izona </a:t>
            </a:r>
            <a:r>
              <a:rPr lang="en-US" sz="2800" dirty="0">
                <a:solidFill>
                  <a:schemeClr val="tx1"/>
                </a:solidFill>
              </a:rPr>
              <a:t>– Region 2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5244D9C-5C22-48F4-BDA6-90BA6F531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04687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2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4666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Hampshir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62CD250-D189-4F9A-9005-D339735BF1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225282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1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1754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Jersey </a:t>
            </a:r>
            <a:r>
              <a:rPr lang="en-US" sz="2800" dirty="0">
                <a:solidFill>
                  <a:schemeClr val="tx1"/>
                </a:solidFill>
              </a:rPr>
              <a:t>– Region 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2B828CE-F57E-4F24-B984-EDC8F8919D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56899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3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4471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Mexico </a:t>
            </a:r>
            <a:r>
              <a:rPr lang="en-US" sz="2800" dirty="0">
                <a:solidFill>
                  <a:schemeClr val="tx1"/>
                </a:solidFill>
              </a:rPr>
              <a:t>– Region 2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E18FB30-1A57-409B-8983-055B154A3C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52665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4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54397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York </a:t>
            </a:r>
            <a:r>
              <a:rPr lang="en-US" sz="2800" dirty="0">
                <a:solidFill>
                  <a:schemeClr val="tx1"/>
                </a:solidFill>
              </a:rPr>
              <a:t>– Region 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B4DB304-858E-4552-A27A-87CC16EC44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1078335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20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48% / 4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48% / 4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4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3766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Carolina </a:t>
            </a:r>
            <a:r>
              <a:rPr lang="en-US" sz="2800" dirty="0">
                <a:solidFill>
                  <a:schemeClr val="tx1"/>
                </a:solidFill>
              </a:rPr>
              <a:t>– Region 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8141BD3-BCD6-447D-AEE8-8CF4E350C8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619507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8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5355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41CC2C2-BECA-46F2-893E-AED109DD9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275036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170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hio </a:t>
            </a:r>
            <a:r>
              <a:rPr lang="en-US" sz="2800" dirty="0">
                <a:solidFill>
                  <a:schemeClr val="tx1"/>
                </a:solidFill>
              </a:rPr>
              <a:t>– Region 1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FC31049-549A-40C4-B268-F327E573B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01977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1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448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klahoma </a:t>
            </a:r>
            <a:r>
              <a:rPr lang="en-US" sz="2800" dirty="0">
                <a:solidFill>
                  <a:schemeClr val="tx1"/>
                </a:solidFill>
              </a:rPr>
              <a:t>– Region 2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735F03D-61C1-48F2-83B0-E9FCEF48DF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6839032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$0 </a:t>
                      </a:r>
                      <a:r>
                        <a:rPr lang="fr-FR" sz="15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ductible</a:t>
                      </a:r>
                      <a:r>
                        <a:rPr lang="fr-FR" sz="15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$200 </a:t>
                      </a:r>
                      <a:r>
                        <a:rPr lang="fr-FR" sz="15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ductible</a:t>
                      </a:r>
                      <a:r>
                        <a:rPr lang="fr-FR" sz="15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8862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reg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F6BA78D-A209-4344-93EA-1B2856923F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01216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89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693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Pennsylva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EAB2D71-86CF-479D-AAF1-8AA2A9BAC1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929876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9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612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kansas </a:t>
            </a:r>
            <a:r>
              <a:rPr lang="en-US" sz="2800" dirty="0">
                <a:solidFill>
                  <a:schemeClr val="tx1"/>
                </a:solidFill>
              </a:rPr>
              <a:t>– Region 1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E925D0C-AE2D-43AA-88B4-8A20CEC126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4636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5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231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Rhode Island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44E50D4-FCA8-48F5-9D34-011144BBDE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051086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0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28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Carolina </a:t>
            </a:r>
            <a:r>
              <a:rPr lang="en-US" sz="2800" dirty="0">
                <a:solidFill>
                  <a:schemeClr val="tx1"/>
                </a:solidFill>
              </a:rPr>
              <a:t>– Region 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BDA748F-57CE-421A-99DF-D9568B858C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0124612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6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1587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319BBF6-34FA-4946-B382-4FB6262961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2247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099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nnessee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1EBA4FD-F9AF-49FD-BBC7-443246574A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361274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4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9187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xas </a:t>
            </a:r>
            <a:r>
              <a:rPr lang="en-US" sz="2800" dirty="0">
                <a:solidFill>
                  <a:schemeClr val="tx1"/>
                </a:solidFill>
              </a:rPr>
              <a:t>– Region 2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E3D729C-0C4C-49AC-9759-98495909E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0523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8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7887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Utah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6779B04-3669-4000-883E-D875F2AEEF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432893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03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5216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ermon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4A060FA-C201-4120-9775-3603AA836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231473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0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79479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irginia </a:t>
            </a:r>
            <a:r>
              <a:rPr lang="en-US" sz="2800" dirty="0">
                <a:solidFill>
                  <a:schemeClr val="tx1"/>
                </a:solidFill>
              </a:rPr>
              <a:t>– Region 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89FDC01-DAE4-4BFC-A1DC-064192ABF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014548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8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798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ashingt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AF5EE19-B55A-4B04-955F-33EED0C621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239245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89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7038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est Virgi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B2AA28C-4BBD-4C7B-B36F-EA8E802AFC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388695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9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45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alifornia </a:t>
            </a:r>
            <a:r>
              <a:rPr lang="en-US" sz="2800" dirty="0">
                <a:solidFill>
                  <a:schemeClr val="tx1"/>
                </a:solidFill>
              </a:rPr>
              <a:t>– Region 3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E72CD49-2F61-4F3C-B0A0-CC205D8A5F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396565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6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017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isconsin </a:t>
            </a:r>
            <a:r>
              <a:rPr lang="en-US" sz="2800" dirty="0">
                <a:solidFill>
                  <a:schemeClr val="tx1"/>
                </a:solidFill>
              </a:rPr>
              <a:t>– Region 1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326FECC-9E37-4CE6-A2C7-E2559F87BF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17470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8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5525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yoming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357FF5-5A57-4701-8FB0-D705E2E5D3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A2D35AB-2D6E-4B25-9A5F-B81A8D288A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5593826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9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073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lorado </a:t>
            </a:r>
            <a:r>
              <a:rPr lang="en-US" sz="2800" dirty="0">
                <a:solidFill>
                  <a:schemeClr val="tx1"/>
                </a:solidFill>
              </a:rPr>
              <a:t>– Region 2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EE36F8B-6E4A-4CBD-B9A8-885B74EE11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598157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5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113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nnecticu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F25C8D0-B19F-4D97-A03D-D3AD89797D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252095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0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98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elaware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7C96F3A-1736-427B-8B9C-0005FCD6F3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454604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113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2057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6"/>
            <a:ext cx="7250795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Plus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istrict of Columbia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1" y="77973"/>
            <a:ext cx="8382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7A57B2D-6575-42FD-B7EA-61B36C971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766181"/>
              </p:ext>
            </p:extLst>
          </p:nvPr>
        </p:nvGraphicFramePr>
        <p:xfrm>
          <a:off x="703909" y="855839"/>
          <a:ext cx="9621193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125">
                  <a:extLst>
                    <a:ext uri="{9D8B030D-6E8A-4147-A177-3AD203B41FA5}">
                      <a16:colId xmlns:a16="http://schemas.microsoft.com/office/drawing/2014/main" val="2661716634"/>
                    </a:ext>
                  </a:extLst>
                </a:gridCol>
                <a:gridCol w="2393571">
                  <a:extLst>
                    <a:ext uri="{9D8B030D-6E8A-4147-A177-3AD203B41FA5}">
                      <a16:colId xmlns:a16="http://schemas.microsoft.com/office/drawing/2014/main" val="218555237"/>
                    </a:ext>
                  </a:extLst>
                </a:gridCol>
                <a:gridCol w="2454524">
                  <a:extLst>
                    <a:ext uri="{9D8B030D-6E8A-4147-A177-3AD203B41FA5}">
                      <a16:colId xmlns:a16="http://schemas.microsoft.com/office/drawing/2014/main" val="897759209"/>
                    </a:ext>
                  </a:extLst>
                </a:gridCol>
                <a:gridCol w="2754973">
                  <a:extLst>
                    <a:ext uri="{9D8B030D-6E8A-4147-A177-3AD203B41FA5}">
                      <a16:colId xmlns:a16="http://schemas.microsoft.com/office/drawing/2014/main" val="2340079104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SilverScript Plus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81466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j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113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896319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 deductible on Tiers 1-2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0 deductible on Tiers 3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092500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Initial Coverage (ICL)</a:t>
                      </a:r>
                    </a:p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30253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endParaRPr lang="en-US" sz="15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75444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37776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 / $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945817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47 / $47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 / $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$1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973382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024200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j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latin typeface="+mj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753646"/>
                  </a:ext>
                </a:extLst>
              </a:tr>
              <a:tr h="53848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  <a:endParaRPr lang="en-US" sz="1500" b="1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4003533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+mj-lt"/>
                        </a:rPr>
                        <a:t>$0 / $1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 / $30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+mj-lt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Tier 3, 4, 5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US" sz="15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1001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6559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tna_PPT_EVERYDAY_Template">
  <a:themeElements>
    <a:clrScheme name="Custom 9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3</TotalTime>
  <Words>12864</Words>
  <Application>Microsoft Office PowerPoint</Application>
  <PresentationFormat>Widescreen</PresentationFormat>
  <Paragraphs>2805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6" baseType="lpstr">
      <vt:lpstr>Arial</vt:lpstr>
      <vt:lpstr>Lucida Grande</vt:lpstr>
      <vt:lpstr>Open Sans</vt:lpstr>
      <vt:lpstr>Aetna_PPT_EVERYDAY_Template</vt:lpstr>
      <vt:lpstr>think-cell Slide</vt:lpstr>
      <vt:lpstr>2024 SilverScript Plus PDP Design Alabama – Region 12 </vt:lpstr>
      <vt:lpstr>2024 SilverScript Plus PDP Design Alaska – Region 34</vt:lpstr>
      <vt:lpstr>2024 SilverScript Plus PDP Design Arizona – Region 28</vt:lpstr>
      <vt:lpstr>2024 SilverScript Plus PDP Design Arkansas – Region 19</vt:lpstr>
      <vt:lpstr>2024 SilverScript Plus PDP Design California – Region 32</vt:lpstr>
      <vt:lpstr>2024 SilverScript Plus PDP Design Colorado – Region 27</vt:lpstr>
      <vt:lpstr>2024 SilverScript Plus PDP Design Connecticut – Region 2</vt:lpstr>
      <vt:lpstr>2024 SilverScript Plus PDP Design Delaware – Region 5</vt:lpstr>
      <vt:lpstr>2024 SilverScript Plus PDP Design District of Columbia – Region 5</vt:lpstr>
      <vt:lpstr>2024 SilverScript Plus PDP Design Florida – Region 11</vt:lpstr>
      <vt:lpstr>2024 SilverScript Plus PDP Design Georgia – Region 10</vt:lpstr>
      <vt:lpstr>2024 SilverScript Plus PDP Design Hawaii – Region 33</vt:lpstr>
      <vt:lpstr>2024 SilverScript Plus PDP Design Idaho – Region 31</vt:lpstr>
      <vt:lpstr>2024 SilverScript Plus PDP Design Illinois – Region 17</vt:lpstr>
      <vt:lpstr>2024 SilverScript Plus PDP Design Indiana – Region 15</vt:lpstr>
      <vt:lpstr>2024 SilverScript Plus PDP Design Iowa – Region 25</vt:lpstr>
      <vt:lpstr>2024 SilverScript Plus PDP Design Kansas – Region 24</vt:lpstr>
      <vt:lpstr>2024 SilverScript Plus PDP Design Kentucky – Region 15</vt:lpstr>
      <vt:lpstr>2024 SilverScript Plus PDP Design Louisiana – Region 21</vt:lpstr>
      <vt:lpstr>2024 SilverScript Plus PDP Design Maine – Region 1</vt:lpstr>
      <vt:lpstr>2024 SilverScript Plus PDP Design Maryland – Region 5</vt:lpstr>
      <vt:lpstr>2024 SilverScript Plus PDP Design Massachusetts – Region 2</vt:lpstr>
      <vt:lpstr>2024 SilverScript Plus PDP Design Michigan – Region 13</vt:lpstr>
      <vt:lpstr>2024 SilverScript Plus PDP Design Minnesota – Region 25</vt:lpstr>
      <vt:lpstr>2024 SilverScript Plus PDP Design Mississippi – Region 20</vt:lpstr>
      <vt:lpstr>2024 SilverScript Plus PDP Design Missouri– Region 18</vt:lpstr>
      <vt:lpstr>2024 SilverScript Plus PDP Design Montana – Region 25</vt:lpstr>
      <vt:lpstr>2024 SilverScript Plus PDP Design Nebraska – Region 25</vt:lpstr>
      <vt:lpstr>2024 SilverScript Plus PDP Design Nevada – Region 29</vt:lpstr>
      <vt:lpstr>2024 SilverScript Plus PDP Design New Hampshire – Region 1</vt:lpstr>
      <vt:lpstr>2024 SilverScript Plus PDP Design New Jersey – Region 4</vt:lpstr>
      <vt:lpstr>2024 SilverScript Plus PDP Design New Mexico – Region 26</vt:lpstr>
      <vt:lpstr>2024 SilverScript Plus PDP Design New York – Region 3</vt:lpstr>
      <vt:lpstr>2024 SilverScript Plus PDP Design North Carolina – Region 8</vt:lpstr>
      <vt:lpstr>2024 SilverScript Plus PDP Design North Dakota – Region 25</vt:lpstr>
      <vt:lpstr>2024 SilverScript Plus PDP Design Ohio – Region 14</vt:lpstr>
      <vt:lpstr>2024 SilverScript Plus PDP Design Oklahoma – Region 23</vt:lpstr>
      <vt:lpstr>2024 SilverScript Plus PDP Design Oregon – Region 30</vt:lpstr>
      <vt:lpstr>2024 SilverScript Plus PDP Design Pennsylvania – Region 6</vt:lpstr>
      <vt:lpstr>2024 SilverScript Plus PDP Design Rhode Island – Region 2</vt:lpstr>
      <vt:lpstr>2024 SilverScript Plus PDP Design South Carolina – Region 9</vt:lpstr>
      <vt:lpstr>2024 SilverScript Plus PDP Design South Dakota – Region 25</vt:lpstr>
      <vt:lpstr>2024 SilverScript Plus PDP Design Tennessee – Region 12</vt:lpstr>
      <vt:lpstr>2024 SilverScript Plus PDP Design Texas – Region 22</vt:lpstr>
      <vt:lpstr>2024 SilverScript Plus PDP Design Utah – Region 31</vt:lpstr>
      <vt:lpstr>2024 SilverScript Plus PDP Design Vermont – Region 2</vt:lpstr>
      <vt:lpstr>2024 SilverScript Plus PDP Design Virginia – Region 7</vt:lpstr>
      <vt:lpstr>2024 SilverScript Plus PDP Design Washington – Region 30</vt:lpstr>
      <vt:lpstr>2024 SilverScript Plus PDP Design West Virginia – Region 6</vt:lpstr>
      <vt:lpstr>2024 SilverScript Plus PDP Design Wisconsin – Region 16</vt:lpstr>
      <vt:lpstr>2024 SilverScript Plus PDP Design Wyoming – Region 25</vt:lpstr>
    </vt:vector>
  </TitlesOfParts>
  <Company>CVS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SilverScript SmartRx PDP Design State - Region</dc:title>
  <dc:creator>Pietralczyk, Rene</dc:creator>
  <cp:lastModifiedBy>Kristoff, Angel T</cp:lastModifiedBy>
  <cp:revision>54</cp:revision>
  <dcterms:created xsi:type="dcterms:W3CDTF">2020-07-23T16:48:32Z</dcterms:created>
  <dcterms:modified xsi:type="dcterms:W3CDTF">2023-08-10T23:1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1-10-05T13:55:10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6c8076c6-9bdc-4c70-83ae-ed69069be8ef</vt:lpwstr>
  </property>
  <property fmtid="{D5CDD505-2E9C-101B-9397-08002B2CF9AE}" pid="8" name="MSIP_Label_67599526-06ca-49cc-9fa9-5307800a949a_ContentBits">
    <vt:lpwstr>0</vt:lpwstr>
  </property>
</Properties>
</file>